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6"/>
  </p:notesMasterIdLst>
  <p:handoutMasterIdLst>
    <p:handoutMasterId r:id="rId17"/>
  </p:handoutMasterIdLst>
  <p:sldIdLst>
    <p:sldId id="1229" r:id="rId2"/>
    <p:sldId id="1322" r:id="rId3"/>
    <p:sldId id="1321" r:id="rId4"/>
    <p:sldId id="1323" r:id="rId5"/>
    <p:sldId id="1324" r:id="rId6"/>
    <p:sldId id="1325" r:id="rId7"/>
    <p:sldId id="1326" r:id="rId8"/>
    <p:sldId id="1328" r:id="rId9"/>
    <p:sldId id="1329" r:id="rId10"/>
    <p:sldId id="1332" r:id="rId11"/>
    <p:sldId id="1330" r:id="rId12"/>
    <p:sldId id="1331" r:id="rId13"/>
    <p:sldId id="1327" r:id="rId14"/>
    <p:sldId id="1333" r:id="rId15"/>
  </p:sldIdLst>
  <p:sldSz cx="9906000" cy="6858000" type="A4"/>
  <p:notesSz cx="6794500" cy="9931400"/>
  <p:custShowLst>
    <p:custShow name="Custom Show 1" id="0">
      <p:sldLst/>
    </p:custShow>
  </p:custShowLst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4948" autoAdjust="0"/>
  </p:normalViewPr>
  <p:slideViewPr>
    <p:cSldViewPr>
      <p:cViewPr varScale="1">
        <p:scale>
          <a:sx n="76" d="100"/>
          <a:sy n="76" d="100"/>
        </p:scale>
        <p:origin x="-1704" y="-10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commentAuthors" Target="commentAuthors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printerSettings" Target="printerSettings/printerSettings1.bin"/><Relationship Id="rId1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31/05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31/05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679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8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1/05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emf"/><Relationship Id="rId3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emf"/><Relationship Id="rId3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3429000"/>
            <a:ext cx="9001249" cy="320087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ssion 3</a:t>
            </a: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第</a:t>
            </a:r>
            <a:r>
              <a:rPr lang="en-US" altLang="zh-CN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3</a:t>
            </a: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场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/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emographic 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jections. 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Indicators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algn="ctr"/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人口预测和指标</a:t>
            </a:r>
            <a:endParaRPr lang="es-ES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tonio Argüeso (National Statistics Institute, Spain)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安东尼奥</a:t>
            </a:r>
            <a:r>
              <a:rPr lang="en-US" altLang="zh-CN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·</a:t>
            </a: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阿尔厥索（西班牙国家统计局）</a:t>
            </a:r>
            <a:endParaRPr lang="en-GB" sz="20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016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 马德里 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, 20 June 2016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5664" y="1919226"/>
            <a:ext cx="5309996" cy="3166004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60390" y="2038006"/>
            <a:ext cx="3557561" cy="1679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ut in terms of population structure, projections are very accurate: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但在人口结构上，人口测算却非常精确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88380" y="4437140"/>
            <a:ext cx="5976830" cy="12241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ld-age dependency rate 1991-2015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991-2015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老人赡养比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al VS Projected in 1993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    </a:t>
            </a:r>
            <a:endParaRPr lang="en-US" altLang="zh-CN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实际情况 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VS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993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预测数值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jected </a:t>
            </a: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for 2015 (in 1993) </a:t>
            </a:r>
            <a:r>
              <a:rPr lang="it-IT" sz="2000" dirty="0" smtClean="0">
                <a:solidFill>
                  <a:srgbClr val="FF0000"/>
                </a:solidFill>
                <a:ea typeface="Verdana" pitchFamily="34" charset="0"/>
                <a:cs typeface="Verdana" pitchFamily="34" charset="0"/>
              </a:rPr>
              <a:t>18.8</a:t>
            </a: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</a:t>
            </a: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al: </a:t>
            </a:r>
            <a:r>
              <a:rPr lang="it-IT" sz="2000" dirty="0" smtClean="0">
                <a:solidFill>
                  <a:srgbClr val="FF0000"/>
                </a:solidFill>
                <a:ea typeface="Verdana" pitchFamily="34" charset="0"/>
                <a:cs typeface="Verdana" pitchFamily="34" charset="0"/>
              </a:rPr>
              <a:t>18.5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zh-CN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1</a:t>
            </a:r>
            <a:r>
              <a:rPr lang="en-US" altLang="zh-CN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993</a:t>
            </a:r>
            <a:r>
              <a:rPr lang="zh-CN" altLang="en-US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年预测</a:t>
            </a:r>
            <a:r>
              <a:rPr lang="en-US" altLang="zh-CN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2015</a:t>
            </a:r>
            <a:r>
              <a:rPr lang="zh-CN" altLang="en-US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年数值为</a:t>
            </a:r>
            <a:r>
              <a:rPr lang="en-US" altLang="zh-CN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188.8</a:t>
            </a:r>
            <a:r>
              <a:rPr lang="zh-CN" altLang="en-US" sz="2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，实际为</a:t>
            </a:r>
            <a:r>
              <a:rPr lang="en-US" altLang="zh-CN" sz="2000" dirty="0" smtClean="0">
                <a:solidFill>
                  <a:srgbClr val="FF0000"/>
                </a:solidFill>
                <a:ea typeface="Verdana" pitchFamily="34" charset="0"/>
                <a:cs typeface="Verdana" pitchFamily="34" charset="0"/>
              </a:rPr>
              <a:t>18.5</a:t>
            </a:r>
            <a:endParaRPr lang="it-IT" sz="2000" dirty="0">
              <a:solidFill>
                <a:srgbClr val="FF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 flipH="1">
            <a:off x="6249180" y="4941210"/>
            <a:ext cx="576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实际</a:t>
            </a:r>
            <a:endParaRPr kumimoji="1" lang="zh-CN" altLang="en-US" sz="1400" dirty="0"/>
          </a:p>
        </p:txBody>
      </p:sp>
      <p:sp>
        <p:nvSpPr>
          <p:cNvPr id="10" name="文本框 9"/>
          <p:cNvSpPr txBox="1"/>
          <p:nvPr/>
        </p:nvSpPr>
        <p:spPr>
          <a:xfrm flipH="1">
            <a:off x="7041289" y="4941210"/>
            <a:ext cx="1368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1</a:t>
            </a:r>
            <a:r>
              <a:rPr kumimoji="1" lang="en-US" altLang="zh-CN" sz="1400" dirty="0" smtClean="0"/>
              <a:t>993</a:t>
            </a:r>
            <a:r>
              <a:rPr kumimoji="1" lang="zh-CN" altLang="en-US" sz="1400" dirty="0" smtClean="0"/>
              <a:t>年预测</a:t>
            </a:r>
            <a:endParaRPr kumimoji="1" lang="zh-CN" altLang="en-US" sz="1400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488380" y="980660"/>
            <a:ext cx="885723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ut who cares about popul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?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谁关心人口预测？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re always wrong, aren’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?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  他们一直就搞错了，是吗？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2597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30" y="2389252"/>
            <a:ext cx="4814192" cy="291200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2389252"/>
            <a:ext cx="4755750" cy="2912008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272350" y="980660"/>
            <a:ext cx="9217280" cy="11521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nother importante indicator: Healthy life expectancy at birth is als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creas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(this indicators have still some qualit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ble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)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另一重要指标：出生时健康寿命预期值也在增长（该指标也有质量问题）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12550" y="2420860"/>
            <a:ext cx="1431820" cy="3600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t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irth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出生时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033150" y="3501010"/>
            <a:ext cx="266437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t 65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years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时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776420" y="5157241"/>
            <a:ext cx="432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男</a:t>
            </a:r>
            <a:endParaRPr kumimoji="1" lang="zh-CN" altLang="en-US" sz="1400" dirty="0"/>
          </a:p>
        </p:txBody>
      </p:sp>
      <p:sp>
        <p:nvSpPr>
          <p:cNvPr id="10" name="文本框 9"/>
          <p:cNvSpPr txBox="1"/>
          <p:nvPr/>
        </p:nvSpPr>
        <p:spPr>
          <a:xfrm>
            <a:off x="2008970" y="5157240"/>
            <a:ext cx="423680" cy="316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女</a:t>
            </a:r>
            <a:endParaRPr kumimoji="1" lang="zh-CN" altLang="en-US" sz="1400" dirty="0"/>
          </a:p>
        </p:txBody>
      </p:sp>
      <p:sp>
        <p:nvSpPr>
          <p:cNvPr id="11" name="文本框 10"/>
          <p:cNvSpPr txBox="1"/>
          <p:nvPr/>
        </p:nvSpPr>
        <p:spPr>
          <a:xfrm>
            <a:off x="5745110" y="5157240"/>
            <a:ext cx="432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男</a:t>
            </a:r>
            <a:endParaRPr kumimoji="1" lang="zh-CN" altLang="en-US" sz="1400" dirty="0"/>
          </a:p>
        </p:txBody>
      </p:sp>
      <p:sp>
        <p:nvSpPr>
          <p:cNvPr id="12" name="文本框 11"/>
          <p:cNvSpPr txBox="1"/>
          <p:nvPr/>
        </p:nvSpPr>
        <p:spPr>
          <a:xfrm>
            <a:off x="6537220" y="5157240"/>
            <a:ext cx="432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女</a:t>
            </a:r>
            <a:endParaRPr kumimoji="1" lang="zh-CN" altLang="en-US" sz="1400" dirty="0"/>
          </a:p>
        </p:txBody>
      </p:sp>
      <p:sp>
        <p:nvSpPr>
          <p:cNvPr id="13" name="文本框 12"/>
          <p:cNvSpPr txBox="1"/>
          <p:nvPr/>
        </p:nvSpPr>
        <p:spPr>
          <a:xfrm>
            <a:off x="7473350" y="5157240"/>
            <a:ext cx="432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男</a:t>
            </a:r>
            <a:endParaRPr kumimoji="1" lang="zh-CN" altLang="en-US" sz="1400" dirty="0"/>
          </a:p>
        </p:txBody>
      </p:sp>
      <p:sp>
        <p:nvSpPr>
          <p:cNvPr id="14" name="文本框 13"/>
          <p:cNvSpPr txBox="1"/>
          <p:nvPr/>
        </p:nvSpPr>
        <p:spPr>
          <a:xfrm>
            <a:off x="8697520" y="5157240"/>
            <a:ext cx="432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女</a:t>
            </a:r>
            <a:endParaRPr kumimoji="1" lang="zh-CN" altLang="en-US" sz="1400" dirty="0"/>
          </a:p>
        </p:txBody>
      </p:sp>
      <p:sp>
        <p:nvSpPr>
          <p:cNvPr id="15" name="文本框 14"/>
          <p:cNvSpPr txBox="1"/>
          <p:nvPr/>
        </p:nvSpPr>
        <p:spPr>
          <a:xfrm>
            <a:off x="3953240" y="5157240"/>
            <a:ext cx="423680" cy="316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女</a:t>
            </a:r>
            <a:endParaRPr kumimoji="1" lang="zh-CN" altLang="en-US" sz="1400" dirty="0"/>
          </a:p>
        </p:txBody>
      </p:sp>
      <p:sp>
        <p:nvSpPr>
          <p:cNvPr id="16" name="文本框 15"/>
          <p:cNvSpPr txBox="1"/>
          <p:nvPr/>
        </p:nvSpPr>
        <p:spPr>
          <a:xfrm>
            <a:off x="2873090" y="5157240"/>
            <a:ext cx="423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男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2714456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168419" y="56744"/>
            <a:ext cx="622478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ions 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the </a:t>
            </a:r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ropean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ion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欧盟人口预测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181" y="2806085"/>
            <a:ext cx="6233069" cy="3503315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16370" y="980660"/>
            <a:ext cx="9145270" cy="792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UROPOP-2013 projections made by Eurostat show the future trends in the European Union.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欧盟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3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人口预测由欧统局作出，展示未来人口趋势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verall projected growth for EU-28: from 508 M to 523 M (+ 3% in 35 years)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欧盟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8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国总体增长预测为：从</a:t>
            </a:r>
            <a:r>
              <a:rPr lang="zh-CN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5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亿</a:t>
            </a:r>
            <a:r>
              <a:rPr lang="zh-CN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8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00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万增长到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5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亿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300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万（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35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中每年增幅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3%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）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69280" y="3789050"/>
            <a:ext cx="2304320" cy="1499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德国</a:t>
            </a:r>
            <a:endParaRPr kumimoji="1" lang="en-US" altLang="zh-CN" sz="1200" dirty="0" smtClean="0"/>
          </a:p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西班牙</a:t>
            </a:r>
            <a:endParaRPr kumimoji="1" lang="en-US" altLang="zh-CN" sz="1200" dirty="0" smtClean="0"/>
          </a:p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法国</a:t>
            </a:r>
            <a:endParaRPr kumimoji="1" lang="en-US" altLang="zh-CN" sz="1200" dirty="0" smtClean="0"/>
          </a:p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意大利</a:t>
            </a:r>
            <a:endParaRPr kumimoji="1" lang="en-US" altLang="zh-CN" sz="1200" dirty="0" smtClean="0"/>
          </a:p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波兰</a:t>
            </a:r>
            <a:endParaRPr kumimoji="1" lang="en-US" altLang="zh-CN" sz="1200" dirty="0" smtClean="0"/>
          </a:p>
          <a:p>
            <a:pPr>
              <a:lnSpc>
                <a:spcPts val="1840"/>
              </a:lnSpc>
            </a:pPr>
            <a:r>
              <a:rPr kumimoji="1" lang="zh-CN" altLang="en-US" sz="1200" dirty="0" smtClean="0"/>
              <a:t>英国</a:t>
            </a:r>
            <a:endParaRPr kumimoji="1"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40831198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161066" y="0"/>
            <a:ext cx="48061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 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ions </a:t>
            </a:r>
            <a:r>
              <a: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the European Union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665550" y="2234310"/>
            <a:ext cx="3040110" cy="37870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ld-age dependency rate in EU: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en-US" altLang="zh-CN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欧盟老人赡养比：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Today: 	18,9%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今日：</a:t>
            </a:r>
            <a:r>
              <a:rPr lang="en-US" altLang="zh-CN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18.9%</a:t>
            </a:r>
            <a:endParaRPr lang="it-IT" sz="2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jected for 2030: </a:t>
            </a:r>
            <a:r>
              <a:rPr lang="it-IT" sz="2000" dirty="0" smtClean="0">
                <a:solidFill>
                  <a:srgbClr val="FF0000"/>
                </a:solidFill>
                <a:ea typeface="Verdana" pitchFamily="34" charset="0"/>
                <a:cs typeface="Verdana" pitchFamily="34" charset="0"/>
              </a:rPr>
              <a:t>23,9%</a:t>
            </a:r>
            <a:r>
              <a:rPr lang="it-IT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预测至</a:t>
            </a:r>
            <a:r>
              <a:rPr lang="en-US" altLang="zh-CN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2030</a:t>
            </a:r>
            <a:r>
              <a:rPr lang="zh-CN" altLang="en-US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年：</a:t>
            </a:r>
            <a:r>
              <a:rPr lang="en-US" altLang="zh-CN" sz="2000" dirty="0" smtClean="0">
                <a:solidFill>
                  <a:srgbClr val="FF0000"/>
                </a:solidFill>
                <a:ea typeface="Verdana" pitchFamily="34" charset="0"/>
                <a:cs typeface="Verdana" pitchFamily="34" charset="0"/>
              </a:rPr>
              <a:t>23.9%</a:t>
            </a:r>
            <a:endParaRPr lang="it-IT" sz="2000" dirty="0">
              <a:solidFill>
                <a:srgbClr val="FF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511397" y="844797"/>
            <a:ext cx="73220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jected old-age </a:t>
            </a: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endency rate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EU- 28 (2015-2050)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欧盟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8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国老人赡养比预测（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-2050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）</a:t>
            </a:r>
            <a:endParaRPr lang="it-IT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people aged 65 and over as % of total population)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（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及以上人口占总人口百分比）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95" y="2225333"/>
            <a:ext cx="6448335" cy="3868037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016870" y="2490515"/>
            <a:ext cx="720100" cy="3386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欧盟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德国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西班牙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法国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意大利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波兰</a:t>
            </a:r>
            <a:endParaRPr kumimoji="1" lang="en-US" altLang="zh-CN" sz="1400" dirty="0" smtClean="0"/>
          </a:p>
          <a:p>
            <a:pPr algn="r">
              <a:lnSpc>
                <a:spcPts val="1980"/>
              </a:lnSpc>
            </a:pPr>
            <a:endParaRPr kumimoji="1" lang="en-US" altLang="zh-CN" sz="1400" dirty="0"/>
          </a:p>
          <a:p>
            <a:pPr algn="r">
              <a:lnSpc>
                <a:spcPts val="1980"/>
              </a:lnSpc>
            </a:pPr>
            <a:r>
              <a:rPr kumimoji="1" lang="zh-CN" altLang="en-US" sz="1400" dirty="0" smtClean="0"/>
              <a:t>英国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2476653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14523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1988314"/>
            <a:ext cx="9200197" cy="3939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ypothesis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projection: Projected evolution of fertility, mortality and migrations in Spain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 projection for Spain 2015-2064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 Projection for the European Union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预测假设：西班牙出生率、死亡率和移民变动预测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</a:t>
            </a: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-2064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人口预测</a:t>
            </a:r>
            <a:endParaRPr lang="en-US" altLang="zh-CN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欧盟人口预测</a:t>
            </a:r>
            <a:endParaRPr lang="it-IT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 目录</a:t>
            </a:r>
            <a:endParaRPr lang="it-IT" dirty="0"/>
          </a:p>
        </p:txBody>
      </p:sp>
      <p:sp>
        <p:nvSpPr>
          <p:cNvPr id="2" name="Rectángulo 1"/>
          <p:cNvSpPr/>
          <p:nvPr/>
        </p:nvSpPr>
        <p:spPr>
          <a:xfrm>
            <a:off x="488380" y="908650"/>
            <a:ext cx="820913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emographic Projections. Indicators</a:t>
            </a:r>
            <a:r>
              <a:rPr lang="en-GB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.</a:t>
            </a:r>
          </a:p>
          <a:p>
            <a:pPr algn="ctr"/>
            <a:r>
              <a:rPr lang="zh-CN" altLang="en-US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人口预测与指标</a:t>
            </a:r>
            <a:endParaRPr lang="es-ES" sz="28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8330" y="188550"/>
            <a:ext cx="705698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Hypothesis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r the projection: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ertility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, mortality and migrations in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Spain</a:t>
            </a: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预测假设：西班牙生育率、死亡率和移民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980" y="1196690"/>
            <a:ext cx="4608640" cy="1978343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776420" y="1196690"/>
            <a:ext cx="3672510" cy="18722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ed evolution of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verage number of children per woman slightly decreasing (from current 1,27 to 1,22)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单个妇女平均育儿数变动预测：缓慢下降（从现在的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.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7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将至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.22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）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65" y="4437140"/>
            <a:ext cx="4495845" cy="2396575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4463" y="4365130"/>
            <a:ext cx="4007177" cy="2301510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640780" y="3501010"/>
            <a:ext cx="86328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ed evolution of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life expectancy at birth and at the age of 65: an almost steady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growth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出生时与</a:t>
            </a:r>
            <a:r>
              <a:rPr lang="zh-CN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6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5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时预期寿命变动预测：几乎稳定的增长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2144610" y="6516148"/>
            <a:ext cx="96693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</a:t>
            </a: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男性</a:t>
            </a:r>
            <a:endParaRPr lang="es-ES" sz="1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7001621" y="6369318"/>
            <a:ext cx="96693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n</a:t>
            </a: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男性</a:t>
            </a:r>
            <a:endParaRPr lang="es-ES" sz="1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8049430" y="6369318"/>
            <a:ext cx="125013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men</a:t>
            </a:r>
            <a:r>
              <a:rPr lang="zh-CN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女性</a:t>
            </a:r>
            <a:endParaRPr lang="es-ES" sz="1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3440790" y="6516148"/>
            <a:ext cx="111075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sz="1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men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女性</a:t>
            </a:r>
            <a:endParaRPr lang="es-ES" sz="12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807554" y="4581160"/>
            <a:ext cx="2057155" cy="4320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t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irth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en-US" altLang="zh-CN" sz="18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出生时预期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162906" y="4578350"/>
            <a:ext cx="2534614" cy="4348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t the age of 65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预期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 animBg="1"/>
      <p:bldP spid="10" grpId="0" animBg="1"/>
      <p:bldP spid="11" grpId="0" animBg="1"/>
      <p:bldP spid="12" grpId="0" animBg="1"/>
      <p:bldP spid="13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891" y="1556740"/>
            <a:ext cx="4916159" cy="4680650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6177170" y="1093331"/>
            <a:ext cx="33124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aths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s</a:t>
            </a:r>
            <a:r>
              <a:rPr lang="es-E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cause</a:t>
            </a:r>
            <a:r>
              <a:rPr lang="es-E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altLang="zh-CN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因老龄化导致死亡人数增加</a:t>
            </a:r>
            <a:endParaRPr lang="es-ES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28330" y="853201"/>
            <a:ext cx="55447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mographic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henomena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4-2064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    </a:t>
            </a:r>
            <a:r>
              <a:rPr lang="zh-CN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14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64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人口变动预测</a:t>
            </a:r>
            <a:endParaRPr lang="es-ES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Flecha izquierda 5"/>
          <p:cNvSpPr/>
          <p:nvPr/>
        </p:nvSpPr>
        <p:spPr>
          <a:xfrm rot="19585664">
            <a:off x="5093696" y="1671675"/>
            <a:ext cx="920094" cy="27882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uadroTexto 6"/>
          <p:cNvSpPr txBox="1"/>
          <p:nvPr/>
        </p:nvSpPr>
        <p:spPr>
          <a:xfrm>
            <a:off x="6249181" y="4869200"/>
            <a:ext cx="32404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irths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reases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cause</a:t>
            </a:r>
            <a:r>
              <a:rPr lang="es-E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rtility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reasing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</a:t>
            </a:r>
            <a:r>
              <a:rPr lang="es-E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thers</a:t>
            </a:r>
            <a:endParaRPr lang="es-ES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出生人数降低，因出生率低以及生育妇女数量减少</a:t>
            </a:r>
            <a:endParaRPr lang="es-E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Flecha izquierda 7"/>
          <p:cNvSpPr/>
          <p:nvPr/>
        </p:nvSpPr>
        <p:spPr>
          <a:xfrm rot="1162541">
            <a:off x="5118485" y="4790317"/>
            <a:ext cx="599419" cy="2538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Flecha izquierda 8"/>
          <p:cNvSpPr/>
          <p:nvPr/>
        </p:nvSpPr>
        <p:spPr>
          <a:xfrm rot="18278440">
            <a:off x="4871912" y="3164371"/>
            <a:ext cx="1312547" cy="216246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CuadroTexto 9"/>
          <p:cNvSpPr txBox="1"/>
          <p:nvPr/>
        </p:nvSpPr>
        <p:spPr>
          <a:xfrm>
            <a:off x="6249180" y="2311015"/>
            <a:ext cx="34564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ypothesis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tant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migration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altLang="zh-CN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假设：持续入境移民</a:t>
            </a:r>
            <a:endParaRPr lang="es-ES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6229701" y="3356990"/>
            <a:ext cx="35479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tant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igration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lies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reasing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</a:t>
            </a:r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s-E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igrants</a:t>
            </a:r>
            <a:endParaRPr lang="es-ES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持续出境移民预示着移出人数减少</a:t>
            </a:r>
            <a:endParaRPr lang="es-ES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Flecha izquierda 11"/>
          <p:cNvSpPr/>
          <p:nvPr/>
        </p:nvSpPr>
        <p:spPr>
          <a:xfrm rot="20061316">
            <a:off x="5079283" y="4350986"/>
            <a:ext cx="639679" cy="20651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28330" y="188550"/>
            <a:ext cx="705698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Hypothesis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or the projection: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fertility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, mortality and migrations in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Spain</a:t>
            </a: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预测假设：西班牙生育率、死亡率和移民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4626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  <p:bldP spid="7" grpId="0"/>
      <p:bldP spid="8" grpId="0" animBg="1"/>
      <p:bldP spid="9" grpId="0" animBg="1"/>
      <p:bldP spid="10" grpId="0"/>
      <p:bldP spid="11" grpId="0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380" y="1347966"/>
            <a:ext cx="5311980" cy="2610973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44360" y="764630"/>
            <a:ext cx="503232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0730" y="4293120"/>
            <a:ext cx="9208900" cy="15138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last Population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ion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ere made under demographic conditions of 2013. (Too pesimistic).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最新的人口预测根据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3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人口状况得出（过于乐观）</a:t>
            </a:r>
            <a:endParaRPr lang="en-US" altLang="zh-CN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next projections, to be published in october 2016, will be made unde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ett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arameters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下一次人口预测将于2016年10月公布，会以更好的参数算出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961140" y="1023921"/>
            <a:ext cx="3486952" cy="24050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ccording to projections, the Population of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ould be decreasing steadily until 2045 and then drop down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dramatically</a:t>
            </a:r>
            <a:endParaRPr lang="it-IT" sz="18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18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根据预测，西班牙人口将稳定减少，至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45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开始锐减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873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360" y="764630"/>
            <a:ext cx="6929970" cy="453663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344360" y="5517290"/>
            <a:ext cx="5472760" cy="8641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n 2029, the largest age group will be 50-54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en-US" altLang="zh-CN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nd in 2064 </a:t>
            </a:r>
            <a:r>
              <a:rPr lang="it-IT" altLang="zh-CN" sz="20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t</a:t>
            </a:r>
            <a:r>
              <a:rPr lang="it-IT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altLang="zh-CN" sz="20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will</a:t>
            </a:r>
            <a:r>
              <a:rPr lang="it-IT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be 85 to 89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329330" y="1124680"/>
            <a:ext cx="18722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29</a:t>
            </a: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，是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50-54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人口数量最大</a:t>
            </a:r>
            <a:endParaRPr lang="en-US" altLang="zh-CN" sz="24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altLang="zh-CN" sz="24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</a:t>
            </a:r>
            <a:r>
              <a:rPr lang="en-US" altLang="zh-CN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064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，是</a:t>
            </a:r>
            <a:r>
              <a:rPr lang="en-US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85-89</a:t>
            </a: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人口数量最大</a:t>
            </a:r>
            <a:endParaRPr lang="it-IT" altLang="zh-CN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3894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400" y="1916790"/>
            <a:ext cx="5317712" cy="331246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96760" y="836640"/>
            <a:ext cx="560840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ed old-age dependency rate 2014-2064: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en-US" altLang="zh-CN" sz="18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40% in 2029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老人赡养比预测：到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29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达到</a:t>
            </a:r>
            <a:r>
              <a:rPr lang="zh-CN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4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0%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177170" y="1700760"/>
            <a:ext cx="3384470" cy="33124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current definition of old-age dependency rate is under debate in demography (why 65 as limit age for «dependency»?) .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老人赡养比的定义目前在人口学界有争议（为何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岁被当成接受“赡养”年龄的界限？）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Let’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make another calculation...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我们要做另外的计算</a:t>
            </a:r>
            <a:r>
              <a:rPr lang="is-I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…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8061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340" y="5914476"/>
            <a:ext cx="9145270" cy="465710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344360" y="764630"/>
            <a:ext cx="9145266" cy="7201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Let’s find, for every year, the limit age at which the percentage of people older than this remains constant in its current level (old-age-dependency rate = 18 %) and the remaining life </a:t>
            </a:r>
            <a:r>
              <a:rPr lang="it-IT" sz="1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xpectancy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: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让我们根据现有赡养比（</a:t>
            </a: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8%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）找出每年符合该比例的人口年龄，以及该年龄人口的预期寿命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188" y="2133804"/>
            <a:ext cx="9054651" cy="3959566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6609230" y="2213446"/>
            <a:ext cx="2944602" cy="3816530"/>
          </a:xfrm>
          <a:prstGeom prst="rect">
            <a:avLst/>
          </a:prstGeom>
          <a:solidFill>
            <a:schemeClr val="accent1">
              <a:alpha val="2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037263" y="2191273"/>
            <a:ext cx="8538806" cy="3682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lder people (constant) 18 % of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otal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老龄人口（恒定为）总人口的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8%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416370" y="2204830"/>
            <a:ext cx="6200668" cy="3825146"/>
          </a:xfrm>
          <a:prstGeom prst="rect">
            <a:avLst/>
          </a:prstGeom>
          <a:solidFill>
            <a:schemeClr val="accent3">
              <a:lumMod val="40000"/>
              <a:lumOff val="60000"/>
              <a:alpha val="2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97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71545" y="764630"/>
            <a:ext cx="885723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But who cares about popula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rojec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?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 谁关心人口预测？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re always wrong, aren’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?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    他们一直就搞错了，是吗？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040" y="2852920"/>
            <a:ext cx="4592950" cy="3312460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5190149" y="2808766"/>
            <a:ext cx="4587521" cy="22764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ccording to Population projections published in 1993 Spain would never reach 40 million. The distance between projected and real figures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normou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根据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993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公布的人口测算，西班牙你永远达不到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4000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万人。而测算与现实的数据差距实在巨大。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44360" y="1700760"/>
            <a:ext cx="5760800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just">
              <a:buClr>
                <a:schemeClr val="tx2"/>
              </a:buClr>
              <a:buSzPct val="103000"/>
            </a:pPr>
            <a:r>
              <a:rPr lang="it-IT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of Spain 1991-2015 Real VS Projected in 1993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991-2015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西班牙实际人口与</a:t>
            </a:r>
            <a:r>
              <a:rPr lang="en-US" altLang="zh-CN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1993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人口测算的对比</a:t>
            </a:r>
            <a:endParaRPr lang="it-IT" sz="1600" dirty="0" smtClean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endParaRPr lang="it-IT" sz="16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Flecha arriba y abajo 3"/>
          <p:cNvSpPr/>
          <p:nvPr/>
        </p:nvSpPr>
        <p:spPr>
          <a:xfrm>
            <a:off x="3656820" y="2492870"/>
            <a:ext cx="288040" cy="93613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28330" y="44530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 projection for Spain </a:t>
            </a: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2014-2064</a:t>
            </a:r>
            <a:r>
              <a:rPr lang="zh-CN" altLang="en-US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年西班牙人口预测</a:t>
            </a:r>
            <a:endParaRPr lang="it-IT" sz="18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029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815</TotalTime>
  <Words>1009</Words>
  <Application>Microsoft Macintosh PowerPoint</Application>
  <PresentationFormat>A4 Paper (210x297 mm)</PresentationFormat>
  <Paragraphs>145</Paragraphs>
  <Slides>14</Slides>
  <Notes>3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17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237</cp:revision>
  <cp:lastPrinted>2015-01-26T19:32:44Z</cp:lastPrinted>
  <dcterms:created xsi:type="dcterms:W3CDTF">2009-02-10T04:14:03Z</dcterms:created>
  <dcterms:modified xsi:type="dcterms:W3CDTF">2016-05-31T15:42:03Z</dcterms:modified>
</cp:coreProperties>
</file>